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62" r:id="rId9"/>
    <p:sldId id="1951" r:id="rId10"/>
    <p:sldId id="1959" r:id="rId11"/>
    <p:sldId id="1961" r:id="rId12"/>
    <p:sldId id="1953" r:id="rId13"/>
    <p:sldId id="1956" r:id="rId14"/>
  </p:sldIdLst>
  <p:sldSz cx="9144000" cy="6858000" type="screen4x3"/>
  <p:notesSz cx="6858000" cy="9661525"/>
  <p:custShowLst>
    <p:custShow name="Mustermann1" id="0">
      <p:sldLst/>
    </p:custShow>
  </p:custShowLst>
  <p:custDataLst>
    <p:tags r:id="rId1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13" d="100"/>
          <a:sy n="113" d="100"/>
        </p:scale>
        <p:origin x="1541" y="8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7374C554-11B3-48EB-9740-621AA1D8993C}" type="pres">
      <dgm:prSet presAssocID="{264BE61B-92A3-4AD0-8A98-24C10B153985}" presName="rootConnector" presStyleLbl="node2" presStyleIdx="6" presStyleCnt="7"/>
      <dgm:spPr/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Überblick Transfermarkt</a:t>
          </a:r>
        </a:p>
      </dsp:txBody>
      <dsp:txXfrm>
        <a:off x="2633693" y="55480"/>
        <a:ext cx="2796611" cy="983656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Zwischenstand Web-Scraping</a:t>
          </a:r>
        </a:p>
      </dsp:txBody>
      <dsp:txXfrm>
        <a:off x="2633693" y="1200068"/>
        <a:ext cx="2796611" cy="983656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Benchmarking</a:t>
          </a:r>
        </a:p>
      </dsp:txBody>
      <dsp:txXfrm>
        <a:off x="2633693" y="2344657"/>
        <a:ext cx="2796611" cy="983656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Next Steps</a:t>
          </a:r>
        </a:p>
      </dsp:txBody>
      <dsp:txXfrm>
        <a:off x="2633693" y="3489245"/>
        <a:ext cx="2796611" cy="9836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Auslagern von Web-</a:t>
          </a:r>
          <a:r>
            <a:rPr lang="de-DE" sz="1300" kern="1200" dirty="0" err="1"/>
            <a:t>Scraping</a:t>
          </a:r>
          <a:r>
            <a:rPr lang="de-DE" sz="1300" kern="1200" dirty="0"/>
            <a:t>-Code in separate Python-Dateien</a:t>
          </a:r>
        </a:p>
      </dsp:txBody>
      <dsp:txXfrm>
        <a:off x="79179" y="1434150"/>
        <a:ext cx="1398134" cy="1660080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000" kern="1200"/>
            <a:t>z. B. Siege, Unentschieden und Niederlagen in den letzten x Spielen</a:t>
          </a:r>
        </a:p>
      </dsp:txBody>
      <dsp:txXfrm>
        <a:off x="1706056" y="1434150"/>
        <a:ext cx="1398134" cy="1660080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Statistische Datenanalyse</a:t>
          </a:r>
        </a:p>
      </dsp:txBody>
      <dsp:txXfrm>
        <a:off x="3332932" y="1434150"/>
        <a:ext cx="1398134" cy="1660080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Feature Engineering und Modelling</a:t>
          </a:r>
        </a:p>
      </dsp:txBody>
      <dsp:txXfrm>
        <a:off x="4959808" y="1434150"/>
        <a:ext cx="1398134" cy="1660080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Modellevaluation und Benchmarking</a:t>
          </a:r>
        </a:p>
      </dsp:txBody>
      <dsp:txXfrm>
        <a:off x="6586685" y="1434150"/>
        <a:ext cx="1398134" cy="166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61960" imgH="10047960" progId="">
                  <p:embed/>
                </p:oleObj>
              </mc:Choice>
              <mc:Fallback>
                <p:oleObj name="think-cell Folie" r:id="rId13" imgW="7761960" imgH="100479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d1wqtxts1xzle7.cloudfront.net/48117997/bf0229599620160817-8553-1ubbzhr-libre.pdf?1471439562=&amp;response-content-disposition=inline%3B+filename%3D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3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Layout" Target="../diagrams/layout6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14218804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45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nchmark mit </a:t>
            </a:r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820</Words>
  <Application>Microsoft Office PowerPoint</Application>
  <PresentationFormat>Bildschirmpräsentation (4:3)</PresentationFormat>
  <Paragraphs>226</Paragraphs>
  <Slides>13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  <vt:variant>
        <vt:lpstr>Zielgruppenorientierte Präsentationen</vt:lpstr>
      </vt:variant>
      <vt:variant>
        <vt:i4>1</vt:i4>
      </vt:variant>
    </vt:vector>
  </HeadingPairs>
  <TitlesOfParts>
    <vt:vector size="22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think-cell Folie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Modellsignifikanz</vt:lpstr>
      <vt:lpstr>Modellsignifikanz</vt:lpstr>
      <vt:lpstr>Web Mining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Kevin Diec, Vodafone</cp:lastModifiedBy>
  <cp:revision>623</cp:revision>
  <cp:lastPrinted>2010-04-29T14:30:22Z</cp:lastPrinted>
  <dcterms:created xsi:type="dcterms:W3CDTF">2010-04-29T12:39:23Z</dcterms:created>
  <dcterms:modified xsi:type="dcterms:W3CDTF">2023-07-24T14:2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7-24T14:28:40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65dc27b7-3b2c-4347-bd0c-802320f5ec04</vt:lpwstr>
  </property>
  <property fmtid="{D5CDD505-2E9C-101B-9397-08002B2CF9AE}" pid="8" name="MSIP_Label_0359f705-2ba0-454b-9cfc-6ce5bcaac040_ContentBits">
    <vt:lpwstr>2</vt:lpwstr>
  </property>
</Properties>
</file>